
<file path=[Content_Types].xml><?xml version="1.0" encoding="utf-8"?>
<Types xmlns="http://schemas.openxmlformats.org/package/2006/content-types">
  <Default Extension="bin" ContentType="application/vnd.openxmlformats-officedocument.presentationml.printerSettings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embeddings/oleObject1.bin" ContentType="application/vnd.openxmlformats-officedocument.oleObject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60" r:id="rId1"/>
  </p:sldMasterIdLst>
  <p:sldIdLst>
    <p:sldId id="256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a="http://schemas.openxmlformats.org/drawingml/2006/main" xmlns:r="http://schemas.openxmlformats.org/officeDocument/2006/relationships" xmlns:p="http://schemas.openxmlformats.org/presentationml/2006/main" xmlns:p15="http://schemas.microsoft.com/office/powerpoint/2012/main" xmlns:mv="urn:schemas-microsoft-com:mac:vml" xmlns:mc="http://schemas.openxmlformats.org/markup-compatibility/2006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>
          <a:srgbClr val="FF0000"/>
        </p14:laserClr>
      </p:ext>
      <p:ext uri="{2FDB2607-1784-4EEB-B798-7EB5836EED8A}">
        <p14:showMediaCtrls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"/>
      </p:ext>
    </p:extLst>
  </p:showPr>
  <p:extLst>
    <p:ext uri="{E76CE94A-603C-4142-B9EB-6D1370010A27}">
      <p14:discardImageEditData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0"/>
    </p:ext>
    <p:ext uri="{D31A062A-798A-4329-ABDD-BBA856620510}">
      <p14:defaultImageDpi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32767"/>
    </p:ext>
    <p:ext uri="{FD5EFAAD-0ECE-453E-9831-46B23BE46B34}">
      <p15:chartTrackingRefBased xmlns="" xmlns:a="http://schemas.openxmlformats.org/drawingml/2006/main" xmlns:r="http://schemas.openxmlformats.org/officeDocument/2006/relationships" xmlns:p="http://schemas.openxmlformats.org/presentationml/2006/main" xmlns:p15="http://schemas.microsoft.com/office/powerpoint/2012/main" xmlns:mv="urn:schemas-microsoft-com:mac:vml" xmlns:mc="http://schemas.openxmlformats.org/markup-compatibility/2006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 showOutlineIcons="0"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-128" y="-28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printerSettings" Target="printerSettings/printerSettings1.bin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843FF539-7AC9-4A17-BC6C-E075A2768F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19249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7" name="think-cell Folie" r:id="rId5" imgW="6350000" imgH="6350000" progId="">
              <p:embed/>
            </p:oleObj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4F69371E-1B81-4AFC-8984-5ED59EE95E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ShortTitle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F6EFBB98-AD8F-412D-8691-4454BE078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36525"/>
            <a:ext cx="9134856" cy="110956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/>
            </a:lvl1pPr>
          </a:lstStyle>
          <a:p>
            <a:r>
              <a:rPr lang="de-DE"/>
              <a:t>Shorttitle</a:t>
            </a:r>
            <a:br>
              <a:rPr lang="de-DE"/>
            </a:br>
            <a:endParaRPr lang="de-CH" dirty="0"/>
          </a:p>
        </p:txBody>
      </p:sp>
      <p:sp>
        <p:nvSpPr>
          <p:cNvPr id="3" name="Start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53A115AE-D77F-4543-9B55-0C7D20F949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89531"/>
            <a:ext cx="4064400" cy="4150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Conclusion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370DF1C3-26F0-4B37-A16D-9D8B7574D4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611898"/>
            <a:ext cx="6400800" cy="124610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1800" b="1">
                <a:solidFill>
                  <a:schemeClr val="bg1"/>
                </a:solidFill>
              </a:defRPr>
            </a:lvl2pPr>
            <a:lvl3pPr marL="914400" indent="0">
              <a:buNone/>
              <a:defRPr sz="1800" b="1">
                <a:solidFill>
                  <a:schemeClr val="bg1"/>
                </a:solidFill>
              </a:defRPr>
            </a:lvl3pPr>
            <a:lvl4pPr marL="1371600" indent="0">
              <a:buNone/>
              <a:defRPr sz="1800" b="1">
                <a:solidFill>
                  <a:schemeClr val="bg1"/>
                </a:solidFill>
              </a:defRPr>
            </a:lvl4pPr>
            <a:lvl5pPr marL="1828800" indent="0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Conclusion</a:t>
            </a:r>
            <a:r>
              <a:rPr lang="de-DE" dirty="0"/>
              <a:t>: </a:t>
            </a:r>
            <a:endParaRPr lang="de-CH" dirty="0"/>
          </a:p>
        </p:txBody>
      </p:sp>
      <p:sp>
        <p:nvSpPr>
          <p:cNvPr id="24" name="Citation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C1B92E9F-D248-4F9B-94C0-8BC0B63BF14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800" y="5619749"/>
            <a:ext cx="5791200" cy="939093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Solution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F1BA592C-8760-4E5E-A659-0CB6DB6002B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064400" y="1385605"/>
            <a:ext cx="4064400" cy="4150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End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30AB4786-E28E-4A55-9ED8-46D060419D3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27600" y="1385605"/>
            <a:ext cx="4064400" cy="415065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C80ECA06-6104-4142-A51C-16DD548D0A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00800" y="6564579"/>
            <a:ext cx="5420412" cy="28777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r">
              <a:buNone/>
              <a:defRPr sz="120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15BA7F4D-3AA7-4A98-845B-EA33664B48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299811"/>
            <a:ext cx="12192000" cy="36000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 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7D6A4065-B008-4CC5-B2D0-B5ED7F312C6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565391"/>
            <a:ext cx="12192000" cy="36000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CH" dirty="0"/>
              <a:t> </a:t>
            </a:r>
          </a:p>
        </p:txBody>
      </p:sp>
      <p:sp>
        <p:nvSpPr>
          <p:cNvPr id="15" name="Start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D59CA417-5611-4B14-AC3B-0C4B42948A42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-600" y="1386000"/>
            <a:ext cx="4064400" cy="4150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732781391"/>
      </p:ext>
    </p:extLst>
  </p:cSld>
  <p:clrMapOvr>
    <a:masterClrMapping/>
  </p:clrMapOvr>
  <p:extLst>
    <p:ext uri="{DCECCB84-F9BA-43D5-87BE-67443E8EF086}">
      <p15:sldGuideLst xmlns="" xmlns:a="http://schemas.openxmlformats.org/drawingml/2006/main" xmlns:r="http://schemas.openxmlformats.org/officeDocument/2006/relationships" xmlns:p="http://schemas.openxmlformats.org/presentationml/2006/main" xmlns:p15="http://schemas.microsoft.com/office/powerpoint/2012/main" xmlns:mv="urn:schemas-microsoft-com:mac:vml" xmlns:mc="http://schemas.openxmlformats.org/markup-compatibility/2006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9B2C283C-BD07-4A4A-A639-47292E4125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Shorttitle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82D0A09C-37C3-4366-8450-048EA363B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Shorttitle</a:t>
            </a:r>
            <a:endParaRPr lang="de-CH" dirty="0"/>
          </a:p>
        </p:txBody>
      </p:sp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267471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F9CC6093-B608-4735-954D-BC4EE5E39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Arial"/>
                <a:cs typeface="Arial"/>
              </a:rPr>
              <a:t>Journal.short.title</a:t>
            </a:r>
            <a:r>
              <a:rPr lang="en-US" dirty="0" smtClean="0">
                <a:latin typeface="Arial"/>
                <a:cs typeface="Arial"/>
              </a:rPr>
              <a:t/>
            </a:r>
            <a:br>
              <a:rPr lang="en-US" dirty="0" smtClean="0">
                <a:latin typeface="Arial"/>
                <a:cs typeface="Arial"/>
              </a:rPr>
            </a:br>
            <a:r>
              <a:rPr lang="en-US" sz="2400" dirty="0" smtClean="0">
                <a:latin typeface="Arial"/>
                <a:cs typeface="Arial"/>
              </a:rPr>
              <a:t> DOI: #################</a:t>
            </a:r>
            <a:endParaRPr lang="en-US" sz="2400" dirty="0">
              <a:latin typeface="Arial"/>
              <a:cs typeface="Arial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62090DA2-5FF7-4F5D-BCC2-82443672C6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solidFill>
            <a:srgbClr val="000000"/>
          </a:solidFill>
        </p:spPr>
        <p:txBody>
          <a:bodyPr/>
          <a:lstStyle/>
          <a:p>
            <a:endParaRPr lang="en-US">
              <a:latin typeface="Arial"/>
              <a:cs typeface="Arial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="" xmlns:a="http://schemas.openxmlformats.org/drawingml/2006/main" xmlns:r="http://schemas.openxmlformats.org/officeDocument/2006/relationships" xmlns:p="http://schemas.openxmlformats.org/presentationml/2006/main" xmlns:a16="http://schemas.microsoft.com/office/drawing/2014/main" xmlns:mv="urn:schemas-microsoft-com:mac:vml" xmlns:mc="http://schemas.openxmlformats.org/markup-compatibility/2006" id="{CA785815-8B9F-48B8-9A75-79769ED074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6495941"/>
            <a:ext cx="12192000" cy="36000"/>
          </a:xfrm>
          <a:solidFill>
            <a:srgbClr val="000000"/>
          </a:solidFill>
        </p:spPr>
        <p:txBody>
          <a:bodyPr/>
          <a:lstStyle/>
          <a:p>
            <a:endParaRPr lang="en-US"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6746440" y="6557648"/>
            <a:ext cx="5420412" cy="287777"/>
          </a:xfrm>
        </p:spPr>
        <p:txBody>
          <a:bodyPr/>
          <a:lstStyle/>
          <a:p>
            <a:r>
              <a:rPr lang="en-US" dirty="0" smtClean="0">
                <a:latin typeface="Arial"/>
                <a:cs typeface="Arial"/>
              </a:rPr>
              <a:t>Copyright </a:t>
            </a:r>
            <a:r>
              <a:rPr lang="en-US" dirty="0" err="1" smtClean="0">
                <a:latin typeface="Arial"/>
                <a:cs typeface="Arial"/>
              </a:rPr>
              <a:t>Karger</a:t>
            </a:r>
            <a:r>
              <a:rPr lang="en-US" dirty="0" smtClean="0">
                <a:latin typeface="Arial"/>
                <a:cs typeface="Arial"/>
              </a:rPr>
              <a:t>/author</a:t>
            </a:r>
            <a:endParaRPr lang="en-US" dirty="0">
              <a:latin typeface="Arial"/>
              <a:cs typeface="Arial"/>
            </a:endParaRPr>
          </a:p>
        </p:txBody>
      </p:sp>
      <p:pic>
        <p:nvPicPr>
          <p:cNvPr id="20" name="Picture 19" descr="Karger_RGB-1536x600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5424" y="113176"/>
            <a:ext cx="2253409" cy="880238"/>
          </a:xfrm>
          <a:prstGeom prst="rect">
            <a:avLst/>
          </a:prstGeom>
        </p:spPr>
      </p:pic>
    </p:spTree>
    <p:extLst>
      <p:ext uri="{BB962C8B-B14F-4D97-AF65-F5344CB8AC3E}">
        <p14:creationId xmlns="" xmlns:a="http://schemas.openxmlformats.org/drawingml/2006/main" xmlns:r="http://schemas.openxmlformats.org/officeDocument/2006/relationships" xmlns:p="http://schemas.openxmlformats.org/presentationml/2006/main" xmlns:p14="http://schemas.microsoft.com/office/powerpoint/2010/main" xmlns:mv="urn:schemas-microsoft-com:mac:vml" xmlns:mc="http://schemas.openxmlformats.org/markup-compatibility/2006" val="40123056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3vBFF6ppdorZqzOp66Xo4Q"/>
</p:tagLst>
</file>

<file path=ppt/theme/theme1.xml><?xml version="1.0" encoding="utf-8"?>
<a:theme xmlns:a="http://schemas.openxmlformats.org/drawingml/2006/main" name="templateva">
  <a:themeElements>
    <a:clrScheme name="AJ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a="http://schemas.openxmlformats.org/drawingml/2006/main" xmlns:thm15="http://schemas.microsoft.com/office/thememl/2012/main" name="templateva.potx" id="{4BE7387C-A510-4F31-BF03-B06B25B3329C}" vid="{634B950A-6E76-4AF8-8EE0-74AF7048350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D10C061E7C74348B35E2DAB3EE0C33F" ma:contentTypeVersion="18" ma:contentTypeDescription="Ein neues Dokument erstellen." ma:contentTypeScope="" ma:versionID="66774bbf4876ef0dce6fcdaff790b552">
  <xsd:schema xmlns:xsd="http://www.w3.org/2001/XMLSchema" xmlns:xs="http://www.w3.org/2001/XMLSchema" xmlns:p="http://schemas.microsoft.com/office/2006/metadata/properties" xmlns:ns2="9bc9dd1d-d77c-4cfa-8be9-26525ba4623d" xmlns:ns3="e958955c-fd13-4b46-ac88-3ffff9dcd3e3" targetNamespace="http://schemas.microsoft.com/office/2006/metadata/properties" ma:root="true" ma:fieldsID="928a48395b213f7b44d8e32586b73460" ns2:_="" ns3:_="">
    <xsd:import namespace="9bc9dd1d-d77c-4cfa-8be9-26525ba4623d"/>
    <xsd:import namespace="e958955c-fd13-4b46-ac88-3ffff9dcd3e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ServiceLocation" minOccurs="0"/>
                <xsd:element ref="ns3:Datum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c9dd1d-d77c-4cfa-8be9-26525ba4623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0944f95c-0b9c-4461-b239-7ba6023cce74}" ma:internalName="TaxCatchAll" ma:showField="CatchAllData" ma:web="9bc9dd1d-d77c-4cfa-8be9-26525ba4623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58955c-fd13-4b46-ac88-3ffff9dcd3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Datum" ma:index="20" nillable="true" ma:displayName="Datum" ma:format="DateOnly" ma:internalName="Datum">
      <xsd:simpleType>
        <xsd:restriction base="dms:DateTime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097b3750-93b0-407a-ab47-41074378e5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tum xmlns="e958955c-fd13-4b46-ac88-3ffff9dcd3e3" xsi:nil="true"/>
    <TaxCatchAll xmlns="9bc9dd1d-d77c-4cfa-8be9-26525ba4623d" xsi:nil="true"/>
    <lcf76f155ced4ddcb4097134ff3c332f xmlns="e958955c-fd13-4b46-ac88-3ffff9dcd3e3">
      <Terms xmlns="http://schemas.microsoft.com/office/infopath/2007/PartnerControls"/>
    </lcf76f155ced4ddcb4097134ff3c332f>
    <SharedWithUsers xmlns="9bc9dd1d-d77c-4cfa-8be9-26525ba4623d">
      <UserInfo>
        <DisplayName>Lara Grieder</DisplayName>
        <AccountId>13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AED784E-ADB1-4E9C-918C-18185D90CC9E}"/>
</file>

<file path=customXml/itemProps2.xml><?xml version="1.0" encoding="utf-8"?>
<ds:datastoreItem xmlns:ds="http://schemas.openxmlformats.org/officeDocument/2006/customXml" ds:itemID="{4C4FD4B5-5269-4DF9-A9F0-DFD2377588BC}"/>
</file>

<file path=customXml/itemProps3.xml><?xml version="1.0" encoding="utf-8"?>
<ds:datastoreItem xmlns:ds="http://schemas.openxmlformats.org/officeDocument/2006/customXml" ds:itemID="{8535D01C-7340-4AC6-9D2C-65FF15C4F407}"/>
</file>

<file path=docProps/app.xml><?xml version="1.0" encoding="utf-8"?>
<Properties xmlns="http://schemas.openxmlformats.org/officeDocument/2006/extended-properties" xmlns:vt="http://schemas.openxmlformats.org/officeDocument/2006/docPropsVTypes">
  <Template>templateVA</Template>
  <TotalTime>4</TotalTime>
  <Words>26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templateva</vt:lpstr>
      <vt:lpstr>think-cell Folie</vt:lpstr>
      <vt:lpstr>Journal.short.title  DOI: #################</vt:lpstr>
    </vt:vector>
  </TitlesOfParts>
  <LinksUpToDate>false</LinksUpToDate>
  <SharedDoc>false</SharedDoc>
  <HyperlinksChanged>false</HyperlinksChanged>
  <AppVersion>12.025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rella Bertaso</dc:creator>
  <cp:lastModifiedBy>Jessada Mahatthananchai</cp:lastModifiedBy>
  <cp:revision>12</cp:revision>
  <dcterms:created xsi:type="dcterms:W3CDTF">2021-03-18T14:21:22Z</dcterms:created>
  <dcterms:modified xsi:type="dcterms:W3CDTF">2021-03-18T14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10C061E7C74348B35E2DAB3EE0C33F</vt:lpwstr>
  </property>
</Properties>
</file>